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078281580967989</c:v>
                </c:pt>
                <c:pt idx="1">
                  <c:v>37.154959983684179</c:v>
                </c:pt>
                <c:pt idx="2">
                  <c:v>39.591650866563334</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8.267339000000007</c:v>
                </c:pt>
                <c:pt idx="1">
                  <c:v>7.0079290000000043</c:v>
                </c:pt>
                <c:pt idx="2">
                  <c:v>6.0428420000000003</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2.345620580967996</c:v>
                </c:pt>
                <c:pt idx="1">
                  <c:v>44.162888983684184</c:v>
                </c:pt>
                <c:pt idx="2">
                  <c:v>45.634492866563335</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0.291958221037092</c:v>
                </c:pt>
                <c:pt idx="1">
                  <c:v>95.902166391394914</c:v>
                </c:pt>
                <c:pt idx="2">
                  <c:v>99.27831651696921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5208305866842453</c:v>
                </c:pt>
                <c:pt idx="1">
                  <c:v>164.14155746050514</c:v>
                </c:pt>
                <c:pt idx="2">
                  <c:v>162.8201464840542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3.812788807721347</c:v>
                </c:pt>
                <c:pt idx="1">
                  <c:v>260.04372385190004</c:v>
                </c:pt>
                <c:pt idx="2">
                  <c:v>262.098463001023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99.278316516969213</c:v>
                </c:pt>
                <c:pt idx="2">
                  <c:v>103.84376238562629</c:v>
                </c:pt>
                <c:pt idx="3">
                  <c:v>115.72392402548022</c:v>
                </c:pt>
                <c:pt idx="4">
                  <c:v>74.628277071118632</c:v>
                </c:pt>
                <c:pt idx="5">
                  <c:v>75.711162370735977</c:v>
                </c:pt>
                <c:pt idx="7">
                  <c:v>92.476781463240272</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162.82014648405425</c:v>
                </c:pt>
                <c:pt idx="2">
                  <c:v>177.13247665099027</c:v>
                </c:pt>
                <c:pt idx="3">
                  <c:v>293.14186749926824</c:v>
                </c:pt>
                <c:pt idx="4">
                  <c:v>151.17548529507238</c:v>
                </c:pt>
                <c:pt idx="5">
                  <c:v>54.360439560439559</c:v>
                </c:pt>
                <c:pt idx="7">
                  <c:v>168.95256725144262</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262.0984630010235</c:v>
                </c:pt>
                <c:pt idx="2">
                  <c:v>280.97623903661656</c:v>
                </c:pt>
                <c:pt idx="3">
                  <c:v>408.86579152474837</c:v>
                </c:pt>
                <c:pt idx="4">
                  <c:v>225.80376236619102</c:v>
                </c:pt>
                <c:pt idx="5">
                  <c:v>130.07160193117554</c:v>
                </c:pt>
                <c:pt idx="7">
                  <c:v>261.42934871468287</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5428800124262656</c:v>
                </c:pt>
                <c:pt idx="2">
                  <c:v>2.944331240648248</c:v>
                </c:pt>
                <c:pt idx="3">
                  <c:v>2.9477555512424161</c:v>
                </c:pt>
                <c:pt idx="4">
                  <c:v>3.0267552601188017</c:v>
                </c:pt>
                <c:pt idx="6">
                  <c:v>7.8697588298678243</c:v>
                </c:pt>
                <c:pt idx="7">
                  <c:v>7.8697588298678243</c:v>
                </c:pt>
                <c:pt idx="8">
                  <c:v>7.8807802582600193</c:v>
                </c:pt>
                <c:pt idx="9">
                  <c:v>7.98011190299216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4360580124262654</c:v>
                </c:pt>
                <c:pt idx="5">
                  <c:v>2.9199332601188011</c:v>
                </c:pt>
                <c:pt idx="10">
                  <c:v>3.022726902992161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4014512282219822</c:v>
                </c:pt>
                <c:pt idx="2">
                  <c:v>3.4243105941679855E-3</c:v>
                </c:pt>
                <c:pt idx="3">
                  <c:v>7.8999708876385466E-2</c:v>
                </c:pt>
                <c:pt idx="7">
                  <c:v>1.1021428392194617E-2</c:v>
                </c:pt>
                <c:pt idx="8">
                  <c:v>0.1395646447321419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4.779243025097614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06822</c:v>
                </c:pt>
                <c:pt idx="5">
                  <c:v>4.9976180000000001</c:v>
                </c:pt>
                <c:pt idx="10">
                  <c:v>4.9573850000000004</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4.89079599999999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4.0232999999999741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5428800124262656</c:v>
                </c:pt>
                <c:pt idx="5">
                  <c:v>7.9175512601188007</c:v>
                </c:pt>
                <c:pt idx="10">
                  <c:v>7.980111902992161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Klantenpotentieel regionaal</c:v>
                </c:pt>
                <c:pt idx="5">
                  <c:v>Loonkostensubsidie</c:v>
                </c:pt>
                <c:pt idx="6">
                  <c:v>Eenpersoonshuishoudens</c:v>
                </c:pt>
                <c:pt idx="7">
                  <c:v>Omgevingsadressendichtheid</c:v>
                </c:pt>
                <c:pt idx="10">
                  <c:v>Overig</c:v>
                </c:pt>
              </c:strCache>
            </c:strRef>
          </c:cat>
          <c:val>
            <c:numRef>
              <c:f>Sheet1!$B$2:$B$12</c:f>
              <c:numCache>
                <c:formatCode>General</c:formatCode>
                <c:ptCount val="11"/>
                <c:pt idx="0">
                  <c:v>1.1771859548800012</c:v>
                </c:pt>
                <c:pt idx="1">
                  <c:v>0.71922585945600015</c:v>
                </c:pt>
                <c:pt idx="2">
                  <c:v>0.37595712024000005</c:v>
                </c:pt>
                <c:pt idx="3">
                  <c:v>0.27160200010944002</c:v>
                </c:pt>
                <c:pt idx="4">
                  <c:v>0.15871381239999999</c:v>
                </c:pt>
                <c:pt idx="5">
                  <c:v>0.13545802035999999</c:v>
                </c:pt>
                <c:pt idx="6">
                  <c:v>0.13082545476000002</c:v>
                </c:pt>
                <c:pt idx="7">
                  <c:v>5.375868078672000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4.8274049999999997</c:v>
                </c:pt>
                <c:pt idx="1">
                  <c:v>9.6328999999999998E-2</c:v>
                </c:pt>
                <c:pt idx="2">
                  <c:v>3.3651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64580002174613338</c:v>
                </c:pt>
                <c:pt idx="1">
                  <c:v>0.67227480961565333</c:v>
                </c:pt>
                <c:pt idx="2">
                  <c:v>0.735534228464013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3.5318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64580002174613338</c:v>
                </c:pt>
                <c:pt idx="1">
                  <c:v>0.67227480961565333</c:v>
                </c:pt>
                <c:pt idx="2">
                  <c:v>0.7708522284640133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285432489984618</c:v>
                </c:pt>
                <c:pt idx="1">
                  <c:v>22.080165849366221</c:v>
                </c:pt>
                <c:pt idx="2">
                  <c:v>24.1578555675111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59982921141655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285432489984618</c:v>
                </c:pt>
                <c:pt idx="1">
                  <c:v>22.080165849366221</c:v>
                </c:pt>
                <c:pt idx="2">
                  <c:v>25.3178384886528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24.157855567511199</c:v>
                </c:pt>
                <c:pt idx="2">
                  <c:v>25.697459239917862</c:v>
                </c:pt>
                <c:pt idx="3">
                  <c:v>27.911417977106051</c:v>
                </c:pt>
                <c:pt idx="4">
                  <c:v>22.043081238779891</c:v>
                </c:pt>
                <c:pt idx="5">
                  <c:v>23.954566051070714</c:v>
                </c:pt>
                <c:pt idx="7">
                  <c:v>24.90163112671863</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1.1599829211416559</c:v>
                </c:pt>
                <c:pt idx="2">
                  <c:v>1.1522819103133073</c:v>
                </c:pt>
                <c:pt idx="3">
                  <c:v>1.1612189807135656</c:v>
                </c:pt>
                <c:pt idx="4">
                  <c:v>1.1543855093163669</c:v>
                </c:pt>
                <c:pt idx="5">
                  <c:v>1.1534132534132535</c:v>
                </c:pt>
                <c:pt idx="7">
                  <c:v>1.1553249134391232</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25.31783848865285</c:v>
                </c:pt>
                <c:pt idx="2">
                  <c:v>26.849741150231168</c:v>
                </c:pt>
                <c:pt idx="3">
                  <c:v>29.072636957819618</c:v>
                </c:pt>
                <c:pt idx="4">
                  <c:v>23.197466748096257</c:v>
                </c:pt>
                <c:pt idx="5">
                  <c:v>25.107979304483965</c:v>
                </c:pt>
                <c:pt idx="7">
                  <c:v>26.05695604015775</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62968654713269923</c:v>
                </c:pt>
                <c:pt idx="2">
                  <c:v>0.62968654713269923</c:v>
                </c:pt>
                <c:pt idx="3">
                  <c:v>0.64204172307495988</c:v>
                </c:pt>
                <c:pt idx="4">
                  <c:v>0.67227480961565345</c:v>
                </c:pt>
                <c:pt idx="6">
                  <c:v>0.67100346421744439</c:v>
                </c:pt>
                <c:pt idx="7">
                  <c:v>0.67100346421744439</c:v>
                </c:pt>
                <c:pt idx="8">
                  <c:v>0.70200770452336203</c:v>
                </c:pt>
                <c:pt idx="9">
                  <c:v>0.735534228464013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64580002174613338</c:v>
                </c:pt>
                <c:pt idx="5">
                  <c:v>0.67227480961565333</c:v>
                </c:pt>
                <c:pt idx="10">
                  <c:v>0.735534228464013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235517594226062E-2</c:v>
                </c:pt>
                <c:pt idx="3">
                  <c:v>3.0233086540693517E-2</c:v>
                </c:pt>
                <c:pt idx="7">
                  <c:v>3.1004240305917686E-2</c:v>
                </c:pt>
                <c:pt idx="8">
                  <c:v>3.3526523940651372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6113474613434178E-2</c:v>
                </c:pt>
                <c:pt idx="6">
                  <c:v>1.2713453982089969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3.5318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3.5318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64580002174613338</c:v>
                </c:pt>
                <c:pt idx="5">
                  <c:v>0.67227480961565333</c:v>
                </c:pt>
                <c:pt idx="10">
                  <c:v>0.7708522284640133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Eenouderhuishoudens</c:v>
                </c:pt>
                <c:pt idx="4">
                  <c:v>Omgevingsadressendichtheid</c:v>
                </c:pt>
                <c:pt idx="5">
                  <c:v>Huishoudens</c:v>
                </c:pt>
                <c:pt idx="6">
                  <c:v>Bijstandsontvangers</c:v>
                </c:pt>
                <c:pt idx="7">
                  <c:v>Minderheden</c:v>
                </c:pt>
                <c:pt idx="8">
                  <c:v>Uitkeringsontvangers</c:v>
                </c:pt>
                <c:pt idx="9">
                  <c:v>Klantenpotentieel regionaal</c:v>
                </c:pt>
                <c:pt idx="10">
                  <c:v>Overig</c:v>
                </c:pt>
              </c:strCache>
            </c:strRef>
          </c:cat>
          <c:val>
            <c:numRef>
              <c:f>Sheet1!$B$2:$B$12</c:f>
              <c:numCache>
                <c:formatCode>General</c:formatCode>
                <c:ptCount val="11"/>
                <c:pt idx="0">
                  <c:v>0.16820241516000001</c:v>
                </c:pt>
                <c:pt idx="1">
                  <c:v>0.14576927508000001</c:v>
                </c:pt>
                <c:pt idx="2">
                  <c:v>0.11634074493600001</c:v>
                </c:pt>
                <c:pt idx="3">
                  <c:v>5.5772878720000002E-2</c:v>
                </c:pt>
                <c:pt idx="4">
                  <c:v>3.8327948338680001E-2</c:v>
                </c:pt>
                <c:pt idx="5">
                  <c:v>3.7906502400000007E-2</c:v>
                </c:pt>
                <c:pt idx="6">
                  <c:v>3.2153478586666701E-2</c:v>
                </c:pt>
                <c:pt idx="7">
                  <c:v>2.58568024E-2</c:v>
                </c:pt>
                <c:pt idx="8">
                  <c:v>2.3941869986666704E-2</c:v>
                </c:pt>
                <c:pt idx="9">
                  <c:v>2.3743148000000002E-2</c:v>
                </c:pt>
                <c:pt idx="10">
                  <c:v>6.751916485599984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93.61508177218161</c:v>
                </c:pt>
                <c:pt idx="1">
                  <c:v>1220.3159583434881</c:v>
                </c:pt>
                <c:pt idx="2">
                  <c:v>1300.3465322220034</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02.08764007910372</c:v>
                </c:pt>
                <c:pt idx="1">
                  <c:v>230.16812822281358</c:v>
                </c:pt>
                <c:pt idx="2">
                  <c:v>198.47085098696095</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95.7027218512853</c:v>
                </c:pt>
                <c:pt idx="1">
                  <c:v>1450.4840865663016</c:v>
                </c:pt>
                <c:pt idx="2">
                  <c:v>1498.8173832089642</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3.5318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298893506750668</c:v>
                </c:pt>
                <c:pt idx="1">
                  <c:v>6.4442601729297886</c:v>
                </c:pt>
                <c:pt idx="2">
                  <c:v>6.59533442635525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3834200000000001</c:v>
                </c:pt>
                <c:pt idx="2">
                  <c:v>0.65972799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298893506750668</c:v>
                </c:pt>
                <c:pt idx="1">
                  <c:v>7.8276801729297887</c:v>
                </c:pt>
                <c:pt idx="2">
                  <c:v>7.25506242635526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2.23789366963294</c:v>
                </c:pt>
                <c:pt idx="1">
                  <c:v>1070.2973215296113</c:v>
                </c:pt>
                <c:pt idx="2">
                  <c:v>1095.38854448683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29.76581963129047</c:v>
                </c:pt>
                <c:pt idx="2">
                  <c:v>109.5711675801361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2.23789366963294</c:v>
                </c:pt>
                <c:pt idx="1">
                  <c:v>1300.0631411609018</c:v>
                </c:pt>
                <c:pt idx="2">
                  <c:v>1204.959712066975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1095.3885444868392</c:v>
                </c:pt>
                <c:pt idx="2">
                  <c:v>1076.8203898758204</c:v>
                </c:pt>
                <c:pt idx="3">
                  <c:v>1277.0217981637447</c:v>
                </c:pt>
                <c:pt idx="4">
                  <c:v>976.50708229277916</c:v>
                </c:pt>
                <c:pt idx="5">
                  <c:v>955.60135380192401</c:v>
                </c:pt>
                <c:pt idx="7">
                  <c:v>1071.4876560335672</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109.57116758013619</c:v>
                </c:pt>
                <c:pt idx="2">
                  <c:v>98.407345575959937</c:v>
                </c:pt>
                <c:pt idx="3">
                  <c:v>784.91475953565509</c:v>
                </c:pt>
                <c:pt idx="4">
                  <c:v>98.377910737386799</c:v>
                </c:pt>
                <c:pt idx="5">
                  <c:v>150.32659284224042</c:v>
                </c:pt>
                <c:pt idx="7">
                  <c:v>283.00665217281056</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1204.9597120669757</c:v>
                </c:pt>
                <c:pt idx="2">
                  <c:v>1175.2277354517805</c:v>
                </c:pt>
                <c:pt idx="3">
                  <c:v>2061.9365576993996</c:v>
                </c:pt>
                <c:pt idx="4">
                  <c:v>1074.884993030166</c:v>
                </c:pt>
                <c:pt idx="5">
                  <c:v>1105.9279466441644</c:v>
                </c:pt>
                <c:pt idx="7">
                  <c:v>1354.4943082063778</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96635380461574738</c:v>
                </c:pt>
                <c:pt idx="2">
                  <c:v>0.96635380461574738</c:v>
                </c:pt>
                <c:pt idx="3">
                  <c:v>6.4112578198354955</c:v>
                </c:pt>
                <c:pt idx="4">
                  <c:v>6.4442601729297895</c:v>
                </c:pt>
                <c:pt idx="6">
                  <c:v>7.8140264356296365</c:v>
                </c:pt>
                <c:pt idx="7">
                  <c:v>7.678704260919984</c:v>
                </c:pt>
                <c:pt idx="8">
                  <c:v>7.678704260919984</c:v>
                </c:pt>
                <c:pt idx="9">
                  <c:v>7.25506242635526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298893506750668</c:v>
                </c:pt>
                <c:pt idx="5">
                  <c:v>6.4442601729297895</c:v>
                </c:pt>
                <c:pt idx="10">
                  <c:v>6.595334426355260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4449040152197483</c:v>
                </c:pt>
                <c:pt idx="3">
                  <c:v>3.3002353094293793E-2</c:v>
                </c:pt>
                <c:pt idx="8">
                  <c:v>0.3000501654352765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3535546059319381E-2</c:v>
                </c:pt>
                <c:pt idx="6">
                  <c:v>1.3653737300153006E-2</c:v>
                </c:pt>
                <c:pt idx="7">
                  <c:v>0.135322174709652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1.3834200000000001</c:v>
                </c:pt>
                <c:pt idx="10">
                  <c:v>0.65972799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383420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7236920000000001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298893506750668</c:v>
                </c:pt>
                <c:pt idx="5">
                  <c:v>7.8276801729297896</c:v>
                </c:pt>
                <c:pt idx="10">
                  <c:v>7.25506242635526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oudens)</c:v>
                </c:pt>
                <c:pt idx="3">
                  <c:v>Gem. gestand. inkomen (huish. kinderen)</c:v>
                </c:pt>
                <c:pt idx="4">
                  <c:v>Ouders lang psychisch medicijngebruik</c:v>
                </c:pt>
                <c:pt idx="5">
                  <c:v>Eenouderhuishoudens</c:v>
                </c:pt>
                <c:pt idx="6">
                  <c:v>Eenouderhuishoudens 2 of meer kinderen</c:v>
                </c:pt>
                <c:pt idx="7">
                  <c:v>BO leerlingen, leerlingengewicht 0,3</c:v>
                </c:pt>
                <c:pt idx="8">
                  <c:v>BO leerlingen, leerlingengewicht 1,2</c:v>
                </c:pt>
                <c:pt idx="9">
                  <c:v>Huishoudens laag inkomen (drempel)</c:v>
                </c:pt>
                <c:pt idx="10">
                  <c:v>Overig</c:v>
                </c:pt>
              </c:strCache>
            </c:strRef>
          </c:cat>
          <c:val>
            <c:numRef>
              <c:f>Sheet1!$B$2:$B$12</c:f>
              <c:numCache>
                <c:formatCode>General</c:formatCode>
                <c:ptCount val="11"/>
                <c:pt idx="0">
                  <c:v>4.9502756955600002</c:v>
                </c:pt>
                <c:pt idx="1">
                  <c:v>2.2257775113600005</c:v>
                </c:pt>
                <c:pt idx="2">
                  <c:v>-1.6673605291199998</c:v>
                </c:pt>
                <c:pt idx="3">
                  <c:v>-1.6312382173360003</c:v>
                </c:pt>
                <c:pt idx="4">
                  <c:v>0.95770666271379101</c:v>
                </c:pt>
                <c:pt idx="5">
                  <c:v>0.88513720672000018</c:v>
                </c:pt>
                <c:pt idx="6">
                  <c:v>0.58052743215999991</c:v>
                </c:pt>
                <c:pt idx="7">
                  <c:v>-0.30772822080000001</c:v>
                </c:pt>
                <c:pt idx="8">
                  <c:v>-0.28176937880000008</c:v>
                </c:pt>
                <c:pt idx="9">
                  <c:v>0.21863901290400006</c:v>
                </c:pt>
                <c:pt idx="10">
                  <c:v>0.6653672509934667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68789299999999998</c:v>
                </c:pt>
                <c:pt idx="1">
                  <c:v>0</c:v>
                </c:pt>
                <c:pt idx="6">
                  <c:v>-2.81649999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5583799791435338</c:v>
                </c:pt>
                <c:pt idx="1">
                  <c:v>10.138056213745358</c:v>
                </c:pt>
                <c:pt idx="2">
                  <c:v>10.90263718978712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212739</c:v>
                </c:pt>
                <c:pt idx="1">
                  <c:v>-8.6600000000000002E-4</c:v>
                </c:pt>
                <c:pt idx="2">
                  <c:v>3.5549999999999998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7711189791435338</c:v>
                </c:pt>
                <c:pt idx="1">
                  <c:v>10.137190213745358</c:v>
                </c:pt>
                <c:pt idx="2">
                  <c:v>10.93818718978712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7.28345349846849</c:v>
                </c:pt>
                <c:pt idx="1">
                  <c:v>332.97389607335231</c:v>
                </c:pt>
                <c:pt idx="2">
                  <c:v>358.0857618086224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2.931410678971659</c:v>
                </c:pt>
                <c:pt idx="1">
                  <c:v>-2.844286793444346E-2</c:v>
                </c:pt>
                <c:pt idx="2">
                  <c:v>1.167602719479751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0.21486417744015</c:v>
                </c:pt>
                <c:pt idx="1">
                  <c:v>332.94545320541783</c:v>
                </c:pt>
                <c:pt idx="2">
                  <c:v>359.2533645281022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358.08576180862246</c:v>
                </c:pt>
                <c:pt idx="2">
                  <c:v>412.63479042206029</c:v>
                </c:pt>
                <c:pt idx="3">
                  <c:v>384.69646922947589</c:v>
                </c:pt>
                <c:pt idx="4">
                  <c:v>334.79665863586587</c:v>
                </c:pt>
                <c:pt idx="5">
                  <c:v>312.6403414883597</c:v>
                </c:pt>
                <c:pt idx="7">
                  <c:v>361.19206494394041</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1.1676027194797518</c:v>
                </c:pt>
                <c:pt idx="2">
                  <c:v>1.2558786513876929</c:v>
                </c:pt>
                <c:pt idx="3">
                  <c:v>0.61664552639281878</c:v>
                </c:pt>
                <c:pt idx="4">
                  <c:v>0.92319677984808157</c:v>
                </c:pt>
                <c:pt idx="5">
                  <c:v>1.025974025974026</c:v>
                </c:pt>
                <c:pt idx="7">
                  <c:v>0.95542374590065493</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359.25336452810222</c:v>
                </c:pt>
                <c:pt idx="2">
                  <c:v>413.89066907344795</c:v>
                </c:pt>
                <c:pt idx="3">
                  <c:v>385.3131147558687</c:v>
                </c:pt>
                <c:pt idx="4">
                  <c:v>335.71985541571394</c:v>
                </c:pt>
                <c:pt idx="5">
                  <c:v>313.66631551433375</c:v>
                </c:pt>
                <c:pt idx="7">
                  <c:v>362.14748868984111</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8176876983079282</c:v>
                </c:pt>
                <c:pt idx="1">
                  <c:v>0.81116115116877541</c:v>
                </c:pt>
                <c:pt idx="2">
                  <c:v>0.80314706496825938</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8176876983079282</c:v>
                </c:pt>
                <c:pt idx="1">
                  <c:v>0.81116115116877541</c:v>
                </c:pt>
                <c:pt idx="2">
                  <c:v>0.8031470649682593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7711189791435338</c:v>
                </c:pt>
                <c:pt idx="2">
                  <c:v>5.9362733638223695</c:v>
                </c:pt>
                <c:pt idx="3">
                  <c:v>11.874046905651696</c:v>
                </c:pt>
                <c:pt idx="4">
                  <c:v>10.13719021374536</c:v>
                </c:pt>
                <c:pt idx="6">
                  <c:v>10.137190213745358</c:v>
                </c:pt>
                <c:pt idx="7">
                  <c:v>10.382639249434124</c:v>
                </c:pt>
                <c:pt idx="8">
                  <c:v>10.398509199811375</c:v>
                </c:pt>
                <c:pt idx="9">
                  <c:v>10.90177118978712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5583799791435338</c:v>
                </c:pt>
                <c:pt idx="5">
                  <c:v>10.138056213745358</c:v>
                </c:pt>
                <c:pt idx="10">
                  <c:v>10.90263718978712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6515438467883528</c:v>
                </c:pt>
                <c:pt idx="2">
                  <c:v>5.9377735418293263</c:v>
                </c:pt>
                <c:pt idx="3">
                  <c:v>0.47674830809366281</c:v>
                </c:pt>
                <c:pt idx="6">
                  <c:v>0.24544903568876686</c:v>
                </c:pt>
                <c:pt idx="7">
                  <c:v>1.5869950377250294E-2</c:v>
                </c:pt>
                <c:pt idx="8">
                  <c:v>0.5032619899757534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212739</c:v>
                </c:pt>
                <c:pt idx="5">
                  <c:v>-8.6599999999981137E-4</c:v>
                </c:pt>
                <c:pt idx="10">
                  <c:v>3.5550000000000186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3.6415999999999997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2.2136049999999998</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7711189791435338</c:v>
                </c:pt>
                <c:pt idx="5">
                  <c:v>10.137190213745358</c:v>
                </c:pt>
                <c:pt idx="10">
                  <c:v>10.93818718978712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Wajong</c:v>
                </c:pt>
                <c:pt idx="5">
                  <c:v>Uitkeringsont. min bijstandsont.</c:v>
                </c:pt>
                <c:pt idx="6">
                  <c:v>Gem. gestandaardiseerd inkomen 75 t/m 84</c:v>
                </c:pt>
                <c:pt idx="7">
                  <c:v>Huishoudens</c:v>
                </c:pt>
                <c:pt idx="8">
                  <c:v>Klantenpotentieel lokaal</c:v>
                </c:pt>
                <c:pt idx="9">
                  <c:v>Gem. gestandaardiseerd inkomen 85+</c:v>
                </c:pt>
                <c:pt idx="10">
                  <c:v>Overig</c:v>
                </c:pt>
              </c:strCache>
            </c:strRef>
          </c:cat>
          <c:val>
            <c:numRef>
              <c:f>Sheet1!$B$2:$B$12</c:f>
              <c:numCache>
                <c:formatCode>General</c:formatCode>
                <c:ptCount val="11"/>
                <c:pt idx="0">
                  <c:v>2.6213030446593848</c:v>
                </c:pt>
                <c:pt idx="1">
                  <c:v>1.6662851478000005</c:v>
                </c:pt>
                <c:pt idx="2">
                  <c:v>1.3981286286240002</c:v>
                </c:pt>
                <c:pt idx="3">
                  <c:v>0.92799598268000016</c:v>
                </c:pt>
                <c:pt idx="4">
                  <c:v>0.5393697192000001</c:v>
                </c:pt>
                <c:pt idx="5">
                  <c:v>0.49939205472000003</c:v>
                </c:pt>
                <c:pt idx="6">
                  <c:v>0.42438695389833603</c:v>
                </c:pt>
                <c:pt idx="7">
                  <c:v>0.36958839840000007</c:v>
                </c:pt>
                <c:pt idx="8">
                  <c:v>0.36183967560000002</c:v>
                </c:pt>
                <c:pt idx="9">
                  <c:v>0.28343449173686402</c:v>
                </c:pt>
                <c:pt idx="10">
                  <c:v>1.810913092468542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3.5549999999999998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2275406598496001</c:v>
                </c:pt>
                <c:pt idx="1">
                  <c:v>3.3022975057197592</c:v>
                </c:pt>
                <c:pt idx="2">
                  <c:v>3.46353461471368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9870999999999999E-2</c:v>
                </c:pt>
                <c:pt idx="1">
                  <c:v>4.9870999999999999E-2</c:v>
                </c:pt>
                <c:pt idx="2">
                  <c:v>4.9870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774116598496001</c:v>
                </c:pt>
                <c:pt idx="1">
                  <c:v>3.3521685057197592</c:v>
                </c:pt>
                <c:pt idx="2">
                  <c:v>3.51340561471368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77.0939630228529</c:v>
                </c:pt>
                <c:pt idx="1">
                  <c:v>548.46329608366705</c:v>
                </c:pt>
                <c:pt idx="2">
                  <c:v>575.2424206466832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3719142645971916</c:v>
                </c:pt>
                <c:pt idx="1">
                  <c:v>8.2828433814980897</c:v>
                </c:pt>
                <c:pt idx="2">
                  <c:v>8.282843381498089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84.4658772874501</c:v>
                </c:pt>
                <c:pt idx="1">
                  <c:v>556.74613946516513</c:v>
                </c:pt>
                <c:pt idx="2">
                  <c:v>583.525264028181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575.24242064668329</c:v>
                </c:pt>
                <c:pt idx="2">
                  <c:v>500.53801361314794</c:v>
                </c:pt>
                <c:pt idx="3">
                  <c:v>613.94792500664676</c:v>
                </c:pt>
                <c:pt idx="4">
                  <c:v>457.74838682715398</c:v>
                </c:pt>
                <c:pt idx="5">
                  <c:v>403.03718402547258</c:v>
                </c:pt>
                <c:pt idx="7">
                  <c:v>493.81787736810531</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8.2828433814980897</c:v>
                </c:pt>
                <c:pt idx="2">
                  <c:v>8.7033945464663329</c:v>
                </c:pt>
                <c:pt idx="3">
                  <c:v>7.6056384742951906</c:v>
                </c:pt>
                <c:pt idx="4">
                  <c:v>7.9094437257438548</c:v>
                </c:pt>
                <c:pt idx="5">
                  <c:v>6.9192745947680949</c:v>
                </c:pt>
                <c:pt idx="7">
                  <c:v>7.7844378353183687</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583.52526402818137</c:v>
                </c:pt>
                <c:pt idx="2">
                  <c:v>509.24140815961431</c:v>
                </c:pt>
                <c:pt idx="3">
                  <c:v>621.55356348094188</c:v>
                </c:pt>
                <c:pt idx="4">
                  <c:v>465.65783055289785</c:v>
                </c:pt>
                <c:pt idx="5">
                  <c:v>409.95645862024071</c:v>
                </c:pt>
                <c:pt idx="7">
                  <c:v>501.6023152034237</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118373888599153</c:v>
                </c:pt>
                <c:pt idx="2">
                  <c:v>3.118373888599153</c:v>
                </c:pt>
                <c:pt idx="3">
                  <c:v>3.2746199269085543</c:v>
                </c:pt>
                <c:pt idx="4">
                  <c:v>3.3521685057197592</c:v>
                </c:pt>
                <c:pt idx="6">
                  <c:v>3.3521685057197592</c:v>
                </c:pt>
                <c:pt idx="7">
                  <c:v>3.3522610167431641</c:v>
                </c:pt>
                <c:pt idx="8">
                  <c:v>3.3522610167431641</c:v>
                </c:pt>
                <c:pt idx="9">
                  <c:v>3.51340561471368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2275406598496001</c:v>
                </c:pt>
                <c:pt idx="5">
                  <c:v>3.3022975057197592</c:v>
                </c:pt>
                <c:pt idx="10">
                  <c:v>3.46353461471368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5624603830940129</c:v>
                </c:pt>
                <c:pt idx="3">
                  <c:v>7.7548578811204791E-2</c:v>
                </c:pt>
                <c:pt idx="6">
                  <c:v>9.2511023404763285E-5</c:v>
                </c:pt>
                <c:pt idx="8">
                  <c:v>0.1611445979705160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590377712504470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9870999999999999E-2</c:v>
                </c:pt>
                <c:pt idx="5">
                  <c:v>4.9870999999999999E-2</c:v>
                </c:pt>
                <c:pt idx="10">
                  <c:v>4.9870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2774116598496001</c:v>
                </c:pt>
                <c:pt idx="5">
                  <c:v>3.3521685057197592</c:v>
                </c:pt>
                <c:pt idx="10">
                  <c:v>3.51340561471368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Land</c:v>
                </c:pt>
                <c:pt idx="3">
                  <c:v>Huishoudens laag inkomen (drempel)</c:v>
                </c:pt>
                <c:pt idx="4">
                  <c:v>Leerlingen (V)SO</c:v>
                </c:pt>
                <c:pt idx="5">
                  <c:v>Kernen</c:v>
                </c:pt>
                <c:pt idx="6">
                  <c:v>Inwoners</c:v>
                </c:pt>
                <c:pt idx="7">
                  <c:v>Omgevingsadressendichtheid</c:v>
                </c:pt>
                <c:pt idx="8">
                  <c:v>Minderheden</c:v>
                </c:pt>
                <c:pt idx="9">
                  <c:v>Binnenwater</c:v>
                </c:pt>
                <c:pt idx="10">
                  <c:v>Overig</c:v>
                </c:pt>
              </c:strCache>
            </c:strRef>
          </c:cat>
          <c:val>
            <c:numRef>
              <c:f>Sheet1!$B$2:$B$12</c:f>
              <c:numCache>
                <c:formatCode>General</c:formatCode>
                <c:ptCount val="11"/>
                <c:pt idx="0">
                  <c:v>1.7722885751999999</c:v>
                </c:pt>
                <c:pt idx="1">
                  <c:v>1.0087527690240001</c:v>
                </c:pt>
                <c:pt idx="2">
                  <c:v>0.16904515264</c:v>
                </c:pt>
                <c:pt idx="3">
                  <c:v>0.16360662411600002</c:v>
                </c:pt>
                <c:pt idx="4">
                  <c:v>0.13406017584960001</c:v>
                </c:pt>
                <c:pt idx="5">
                  <c:v>7.8414273079999999E-2</c:v>
                </c:pt>
                <c:pt idx="6">
                  <c:v>5.1043786560000005E-2</c:v>
                </c:pt>
                <c:pt idx="7">
                  <c:v>4.7453650324079999E-2</c:v>
                </c:pt>
                <c:pt idx="8">
                  <c:v>3.5852492000000007E-2</c:v>
                </c:pt>
                <c:pt idx="9">
                  <c:v>1.7386387200000004E-3</c:v>
                </c:pt>
                <c:pt idx="10">
                  <c:v>1.2784772000000721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4.9870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6641328070426664</c:v>
                </c:pt>
                <c:pt idx="1">
                  <c:v>0.22899370442002664</c:v>
                </c:pt>
                <c:pt idx="2">
                  <c:v>0.2398425537303466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6641328070426664</c:v>
                </c:pt>
                <c:pt idx="1">
                  <c:v>0.22899370442002664</c:v>
                </c:pt>
                <c:pt idx="2">
                  <c:v>0.2398425537303466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2419688094000003</c:v>
                </c:pt>
                <c:pt idx="1">
                  <c:v>-4.4270200428399997</c:v>
                </c:pt>
                <c:pt idx="2">
                  <c:v>-4.1571269383600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2419688094000003</c:v>
                </c:pt>
                <c:pt idx="1">
                  <c:v>-4.4270200428399997</c:v>
                </c:pt>
                <c:pt idx="2">
                  <c:v>-4.1571269383600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4849466283542077</c:v>
                </c:pt>
                <c:pt idx="1">
                  <c:v>7.5210596912676673</c:v>
                </c:pt>
                <c:pt idx="2">
                  <c:v>7.877378846203128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4849466283542077</c:v>
                </c:pt>
                <c:pt idx="1">
                  <c:v>7.5210596912676673</c:v>
                </c:pt>
                <c:pt idx="2">
                  <c:v>7.877378846203128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7.8773788462031282</c:v>
                </c:pt>
                <c:pt idx="2">
                  <c:v>8.0668295027515402</c:v>
                </c:pt>
                <c:pt idx="3">
                  <c:v>8.7699470839457518</c:v>
                </c:pt>
                <c:pt idx="4">
                  <c:v>7.3947640108481032</c:v>
                </c:pt>
                <c:pt idx="5">
                  <c:v>7.9215087494834071</c:v>
                </c:pt>
                <c:pt idx="7">
                  <c:v>8.0382623367571995</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0</c:v>
                </c:pt>
                <c:pt idx="2">
                  <c:v>0</c:v>
                </c:pt>
                <c:pt idx="3">
                  <c:v>1.1695124727615702</c:v>
                </c:pt>
                <c:pt idx="4">
                  <c:v>0</c:v>
                </c:pt>
                <c:pt idx="5">
                  <c:v>0</c:v>
                </c:pt>
                <c:pt idx="7">
                  <c:v>0.29237811819039256</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7.8773788462031282</c:v>
                </c:pt>
                <c:pt idx="2">
                  <c:v>8.0668295027515402</c:v>
                </c:pt>
                <c:pt idx="3">
                  <c:v>9.9394595567073232</c:v>
                </c:pt>
                <c:pt idx="4">
                  <c:v>7.3947640108481032</c:v>
                </c:pt>
                <c:pt idx="5">
                  <c:v>7.9215087494834071</c:v>
                </c:pt>
                <c:pt idx="7">
                  <c:v>8.3306404549475932</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6389713613899304</c:v>
                </c:pt>
                <c:pt idx="2">
                  <c:v>0.16389713613899304</c:v>
                </c:pt>
                <c:pt idx="3">
                  <c:v>0.22416513049385678</c:v>
                </c:pt>
                <c:pt idx="4">
                  <c:v>0.22899370442002664</c:v>
                </c:pt>
                <c:pt idx="6">
                  <c:v>0.22868405784094664</c:v>
                </c:pt>
                <c:pt idx="7">
                  <c:v>0.22868405784094664</c:v>
                </c:pt>
                <c:pt idx="8">
                  <c:v>0.22868405784094664</c:v>
                </c:pt>
                <c:pt idx="9">
                  <c:v>0.2398425537303466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6641328070426664</c:v>
                </c:pt>
                <c:pt idx="5">
                  <c:v>0.22899370442002664</c:v>
                </c:pt>
                <c:pt idx="10">
                  <c:v>0.2398425537303466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0267994354863734E-2</c:v>
                </c:pt>
                <c:pt idx="3">
                  <c:v>4.8285739261698726E-3</c:v>
                </c:pt>
                <c:pt idx="8">
                  <c:v>1.115849588939997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5161445652736032E-3</c:v>
                </c:pt>
                <c:pt idx="6">
                  <c:v>3.096465790799917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6641328070426664</c:v>
                </c:pt>
                <c:pt idx="5">
                  <c:v>0.22899370442002664</c:v>
                </c:pt>
                <c:pt idx="10">
                  <c:v>0.2398425537303466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Omgevingsadressendichtheid</c:v>
                </c:pt>
                <c:pt idx="5">
                  <c:v>Huishoudens</c:v>
                </c:pt>
                <c:pt idx="6">
                  <c:v>Bijstandsontvangers</c:v>
                </c:pt>
                <c:pt idx="7">
                  <c:v>Minderheden</c:v>
                </c:pt>
                <c:pt idx="8">
                  <c:v>Uitkeringsontvangers</c:v>
                </c:pt>
                <c:pt idx="9">
                  <c:v>Klantenpotentieel regionaal</c:v>
                </c:pt>
                <c:pt idx="10">
                  <c:v>Overig</c:v>
                </c:pt>
              </c:strCache>
            </c:strRef>
          </c:cat>
          <c:val>
            <c:numRef>
              <c:f>Sheet1!$B$2:$B$12</c:f>
              <c:numCache>
                <c:formatCode>General</c:formatCode>
                <c:ptCount val="11"/>
                <c:pt idx="0">
                  <c:v>9.9484983000000013E-2</c:v>
                </c:pt>
                <c:pt idx="1">
                  <c:v>3.7792034280000004E-2</c:v>
                </c:pt>
                <c:pt idx="2">
                  <c:v>2.8320302711999999E-2</c:v>
                </c:pt>
                <c:pt idx="3">
                  <c:v>1.3585033280000002E-2</c:v>
                </c:pt>
                <c:pt idx="4">
                  <c:v>9.2916238396800015E-3</c:v>
                </c:pt>
                <c:pt idx="5">
                  <c:v>9.2660339199999997E-3</c:v>
                </c:pt>
                <c:pt idx="6">
                  <c:v>7.6558769733333408E-3</c:v>
                </c:pt>
                <c:pt idx="7">
                  <c:v>6.2880896000000004E-3</c:v>
                </c:pt>
                <c:pt idx="8">
                  <c:v>5.802157573333344E-3</c:v>
                </c:pt>
                <c:pt idx="9">
                  <c:v>5.6618276000000006E-3</c:v>
                </c:pt>
                <c:pt idx="10">
                  <c:v>1.669459095199993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2675137239000005</c:v>
                </c:pt>
                <c:pt idx="1">
                  <c:v>5.4507032618100002</c:v>
                </c:pt>
                <c:pt idx="2">
                  <c:v>5.7162521535600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8489999999999995E-2</c:v>
                </c:pt>
                <c:pt idx="1">
                  <c:v>0.10648299999999999</c:v>
                </c:pt>
                <c:pt idx="2">
                  <c:v>0.10895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3360037239000002</c:v>
                </c:pt>
                <c:pt idx="1">
                  <c:v>5.5571862618100001</c:v>
                </c:pt>
                <c:pt idx="2">
                  <c:v>5.82521015356000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187.7443476716918</c:v>
                </c:pt>
                <c:pt idx="2">
                  <c:v>187.2652124845996</c:v>
                </c:pt>
                <c:pt idx="3">
                  <c:v>198.17219961492177</c:v>
                </c:pt>
                <c:pt idx="4">
                  <c:v>177.96365821463354</c:v>
                </c:pt>
                <c:pt idx="5">
                  <c:v>188.14177845887448</c:v>
                </c:pt>
                <c:pt idx="7">
                  <c:v>187.88571219325732</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3.5786120143199658</c:v>
                </c:pt>
                <c:pt idx="2">
                  <c:v>3.3821288997814136</c:v>
                </c:pt>
                <c:pt idx="3">
                  <c:v>4.7123947051744883</c:v>
                </c:pt>
                <c:pt idx="4">
                  <c:v>2.1727585535285332</c:v>
                </c:pt>
                <c:pt idx="5">
                  <c:v>4.8162504162504165</c:v>
                </c:pt>
                <c:pt idx="7">
                  <c:v>3.7708831436837134</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191.32295968601179</c:v>
                </c:pt>
                <c:pt idx="2">
                  <c:v>190.64734138438101</c:v>
                </c:pt>
                <c:pt idx="3">
                  <c:v>202.88459432009626</c:v>
                </c:pt>
                <c:pt idx="4">
                  <c:v>180.13641676816204</c:v>
                </c:pt>
                <c:pt idx="5">
                  <c:v>192.95802887512491</c:v>
                </c:pt>
                <c:pt idx="7">
                  <c:v>191.65659533694105</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3360037239000002</c:v>
                </c:pt>
                <c:pt idx="2">
                  <c:v>5.3525630160236082</c:v>
                </c:pt>
                <c:pt idx="3">
                  <c:v>5.3525630160236082</c:v>
                </c:pt>
                <c:pt idx="4">
                  <c:v>5.5191932618099999</c:v>
                </c:pt>
                <c:pt idx="6">
                  <c:v>5.5567805240628374</c:v>
                </c:pt>
                <c:pt idx="7">
                  <c:v>5.5567805240628374</c:v>
                </c:pt>
                <c:pt idx="8">
                  <c:v>5.5567805240628374</c:v>
                </c:pt>
                <c:pt idx="9">
                  <c:v>5.8227351535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2675137239000005</c:v>
                </c:pt>
                <c:pt idx="5">
                  <c:v>5.4507032618100002</c:v>
                </c:pt>
                <c:pt idx="10">
                  <c:v>5.7162521535600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6559292123608009E-2</c:v>
                </c:pt>
                <c:pt idx="3">
                  <c:v>0.16663024578639168</c:v>
                </c:pt>
                <c:pt idx="8">
                  <c:v>0.265954629497162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4.0573774716278692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8489999999999995E-2</c:v>
                </c:pt>
                <c:pt idx="5">
                  <c:v>0.10648299999999999</c:v>
                </c:pt>
                <c:pt idx="10">
                  <c:v>0.10895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7992999999999999E-2</c:v>
                </c:pt>
                <c:pt idx="9">
                  <c:v>2.475000000000005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3360037239000002</c:v>
                </c:pt>
                <c:pt idx="5">
                  <c:v>5.5571862618100001</c:v>
                </c:pt>
                <c:pt idx="10">
                  <c:v>5.82521015356000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Hist.woningen in bewoonde oorden</c:v>
                </c:pt>
                <c:pt idx="5">
                  <c:v>Opp. historische kernen &lt;40 ha</c:v>
                </c:pt>
                <c:pt idx="6">
                  <c:v>Opp. historische kernen 40-64 ha</c:v>
                </c:pt>
                <c:pt idx="10">
                  <c:v>Overig</c:v>
                </c:pt>
              </c:strCache>
            </c:strRef>
          </c:cat>
          <c:val>
            <c:numRef>
              <c:f>Sheet1!$B$2:$B$12</c:f>
              <c:numCache>
                <c:formatCode>General</c:formatCode>
                <c:ptCount val="11"/>
                <c:pt idx="0">
                  <c:v>2.5428640208400002</c:v>
                </c:pt>
                <c:pt idx="1">
                  <c:v>1.4911996860800001</c:v>
                </c:pt>
                <c:pt idx="2">
                  <c:v>1.42555608</c:v>
                </c:pt>
                <c:pt idx="3">
                  <c:v>0.16072284800000003</c:v>
                </c:pt>
                <c:pt idx="4">
                  <c:v>9.1635139439999999E-2</c:v>
                </c:pt>
                <c:pt idx="5">
                  <c:v>4.2743792000000001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9.81439714568228</c:v>
                </c:pt>
                <c:pt idx="1">
                  <c:v>-145.40086191874403</c:v>
                </c:pt>
                <c:pt idx="2">
                  <c:v>-136.5365040352087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9.81439714568228</c:v>
                </c:pt>
                <c:pt idx="1">
                  <c:v>-145.40086191874403</c:v>
                </c:pt>
                <c:pt idx="2">
                  <c:v>-136.5365040352087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08958</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6025906526987974</c:v>
                </c:pt>
                <c:pt idx="1">
                  <c:v>7.8705210364402554</c:v>
                </c:pt>
                <c:pt idx="2">
                  <c:v>8.276241804734517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10419</c:v>
                </c:pt>
                <c:pt idx="1">
                  <c:v>0.110419</c:v>
                </c:pt>
                <c:pt idx="2">
                  <c:v>0.11041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7130096526987977</c:v>
                </c:pt>
                <c:pt idx="1">
                  <c:v>7.9809400364402556</c:v>
                </c:pt>
                <c:pt idx="2">
                  <c:v>8.386660804734518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0.57978420233346</c:v>
                </c:pt>
                <c:pt idx="1">
                  <c:v>258.49906514402915</c:v>
                </c:pt>
                <c:pt idx="2">
                  <c:v>271.8245411611823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6393869479235335</c:v>
                </c:pt>
                <c:pt idx="1">
                  <c:v>3.6265970374749563</c:v>
                </c:pt>
                <c:pt idx="2">
                  <c:v>3.626597037474956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4.21917115025701</c:v>
                </c:pt>
                <c:pt idx="1">
                  <c:v>262.12566218150414</c:v>
                </c:pt>
                <c:pt idx="2">
                  <c:v>275.4511381986572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271.82454116118231</c:v>
                </c:pt>
                <c:pt idx="2">
                  <c:v>246.6943790693947</c:v>
                </c:pt>
                <c:pt idx="3">
                  <c:v>235.55523687475011</c:v>
                </c:pt>
                <c:pt idx="4">
                  <c:v>243.76664179074123</c:v>
                </c:pt>
                <c:pt idx="5">
                  <c:v>214.35630501235818</c:v>
                </c:pt>
                <c:pt idx="7">
                  <c:v>235.09314068681107</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3.6265970374749563</c:v>
                </c:pt>
                <c:pt idx="2">
                  <c:v>6.3915678611644697</c:v>
                </c:pt>
                <c:pt idx="3">
                  <c:v>1.3605555013497252</c:v>
                </c:pt>
                <c:pt idx="4">
                  <c:v>1.8632084658832695</c:v>
                </c:pt>
                <c:pt idx="5">
                  <c:v>1.95997335997336</c:v>
                </c:pt>
                <c:pt idx="7">
                  <c:v>2.8938262970927058</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275.45113819865725</c:v>
                </c:pt>
                <c:pt idx="2">
                  <c:v>253.08594693055915</c:v>
                </c:pt>
                <c:pt idx="3">
                  <c:v>236.91579237609983</c:v>
                </c:pt>
                <c:pt idx="4">
                  <c:v>245.62985025662451</c:v>
                </c:pt>
                <c:pt idx="5">
                  <c:v>216.31627837233151</c:v>
                </c:pt>
                <c:pt idx="7">
                  <c:v>237.98696698390376</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7.7130096526987977</c:v>
                </c:pt>
                <c:pt idx="2">
                  <c:v>7.7404937192313872</c:v>
                </c:pt>
                <c:pt idx="3">
                  <c:v>7.7404937192313872</c:v>
                </c:pt>
                <c:pt idx="4">
                  <c:v>7.9809400364402556</c:v>
                </c:pt>
                <c:pt idx="6">
                  <c:v>7.9809400364402556</c:v>
                </c:pt>
                <c:pt idx="7">
                  <c:v>8.0018453976880615</c:v>
                </c:pt>
                <c:pt idx="8">
                  <c:v>8.0018453976880615</c:v>
                </c:pt>
                <c:pt idx="9">
                  <c:v>8.386660804734516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6025906526987974</c:v>
                </c:pt>
                <c:pt idx="5">
                  <c:v>7.8705210364402554</c:v>
                </c:pt>
                <c:pt idx="10">
                  <c:v>8.276241804734517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1162892166286597E-2</c:v>
                </c:pt>
                <c:pt idx="3">
                  <c:v>0.24044631720886878</c:v>
                </c:pt>
                <c:pt idx="6">
                  <c:v>5.2369077624047161E-2</c:v>
                </c:pt>
                <c:pt idx="8">
                  <c:v>0.384815407046455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3.6788256336974215E-3</c:v>
                </c:pt>
                <c:pt idx="7">
                  <c:v>3.1463716376240229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10419</c:v>
                </c:pt>
                <c:pt idx="5">
                  <c:v>0.110419</c:v>
                </c:pt>
                <c:pt idx="10">
                  <c:v>0.11041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7130096526987977</c:v>
                </c:pt>
                <c:pt idx="5">
                  <c:v>7.9809400364402556</c:v>
                </c:pt>
                <c:pt idx="10">
                  <c:v>8.386660804734518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pp. bebouwing kern *bodemfactor kern</c:v>
                </c:pt>
                <c:pt idx="2">
                  <c:v>Inwoners</c:v>
                </c:pt>
                <c:pt idx="3">
                  <c:v>Oppervlak bebouwing woonkernen</c:v>
                </c:pt>
                <c:pt idx="4">
                  <c:v>Woonruimten * bodemfactor kern</c:v>
                </c:pt>
                <c:pt idx="5">
                  <c:v>Omgevingsadressendichtheid</c:v>
                </c:pt>
                <c:pt idx="6">
                  <c:v>Land</c:v>
                </c:pt>
                <c:pt idx="7">
                  <c:v>Oppervlak bebouwing buitengebied</c:v>
                </c:pt>
                <c:pt idx="8">
                  <c:v>Land * bodemfactor gemeente</c:v>
                </c:pt>
                <c:pt idx="9">
                  <c:v>Opp. beb. buitengebied * bf. buiteng.</c:v>
                </c:pt>
                <c:pt idx="10">
                  <c:v>Overig</c:v>
                </c:pt>
              </c:strCache>
            </c:strRef>
          </c:cat>
          <c:val>
            <c:numRef>
              <c:f>Sheet1!$B$2:$B$12</c:f>
              <c:numCache>
                <c:formatCode>General</c:formatCode>
                <c:ptCount val="11"/>
                <c:pt idx="0">
                  <c:v>1.1932706843200001</c:v>
                </c:pt>
                <c:pt idx="1">
                  <c:v>0.95620951296000001</c:v>
                </c:pt>
                <c:pt idx="2">
                  <c:v>0.80099480448000016</c:v>
                </c:pt>
                <c:pt idx="3">
                  <c:v>0.70720425984000013</c:v>
                </c:pt>
                <c:pt idx="4">
                  <c:v>0.6865363726</c:v>
                </c:pt>
                <c:pt idx="5">
                  <c:v>0.64792484096339997</c:v>
                </c:pt>
                <c:pt idx="6">
                  <c:v>0.5533818035200001</c:v>
                </c:pt>
                <c:pt idx="7">
                  <c:v>0.54835563588000003</c:v>
                </c:pt>
                <c:pt idx="8">
                  <c:v>0.50339639167999994</c:v>
                </c:pt>
                <c:pt idx="9">
                  <c:v>0.43512765972</c:v>
                </c:pt>
                <c:pt idx="10">
                  <c:v>1.2438398387711178</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0.110419</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926313197590731</c:v>
                </c:pt>
                <c:pt idx="1">
                  <c:v>-1.13119100717771</c:v>
                </c:pt>
                <c:pt idx="2">
                  <c:v>-1.1980400598898984</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926313197590731</c:v>
                </c:pt>
                <c:pt idx="1">
                  <c:v>-1.13119100717771</c:v>
                </c:pt>
                <c:pt idx="2">
                  <c:v>-1.1980400598898984</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6.012897816713028</c:v>
                </c:pt>
                <c:pt idx="1">
                  <c:v>-37.152790330006574</c:v>
                </c:pt>
                <c:pt idx="2">
                  <c:v>-39.348377833280729</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6.012897816713028</c:v>
                </c:pt>
                <c:pt idx="1">
                  <c:v>-37.152790330006574</c:v>
                </c:pt>
                <c:pt idx="2">
                  <c:v>-39.348377833280729</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39.348377833280729</c:v>
                </c:pt>
                <c:pt idx="2">
                  <c:v>-40.035156805652051</c:v>
                </c:pt>
                <c:pt idx="3">
                  <c:v>-38.109344648781203</c:v>
                </c:pt>
                <c:pt idx="4">
                  <c:v>-38.038492622315061</c:v>
                </c:pt>
                <c:pt idx="5">
                  <c:v>-37.648965880548644</c:v>
                </c:pt>
                <c:pt idx="7">
                  <c:v>-38.45798998932424</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39.348377833280729</c:v>
                </c:pt>
                <c:pt idx="2">
                  <c:v>-40.035156805652051</c:v>
                </c:pt>
                <c:pt idx="3">
                  <c:v>-38.109344648781203</c:v>
                </c:pt>
                <c:pt idx="4">
                  <c:v>-38.038492622315061</c:v>
                </c:pt>
                <c:pt idx="5">
                  <c:v>-37.648965880548644</c:v>
                </c:pt>
                <c:pt idx="7">
                  <c:v>-38.45798998932424</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136.53650403520874</c:v>
                </c:pt>
                <c:pt idx="2">
                  <c:v>-142.71931711863283</c:v>
                </c:pt>
                <c:pt idx="3">
                  <c:v>-136.93205289491658</c:v>
                </c:pt>
                <c:pt idx="4">
                  <c:v>-135.81476790105825</c:v>
                </c:pt>
                <c:pt idx="5">
                  <c:v>-149.91866859673658</c:v>
                </c:pt>
                <c:pt idx="7">
                  <c:v>-141.34620162783605</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136.53650403520874</c:v>
                </c:pt>
                <c:pt idx="2">
                  <c:v>-142.71931711863283</c:v>
                </c:pt>
                <c:pt idx="3">
                  <c:v>-136.93205289491658</c:v>
                </c:pt>
                <c:pt idx="4">
                  <c:v>-135.81476790105825</c:v>
                </c:pt>
                <c:pt idx="5">
                  <c:v>-149.91866859673658</c:v>
                </c:pt>
                <c:pt idx="7">
                  <c:v>-141.34620162783605</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966131889483324</c:v>
                </c:pt>
                <c:pt idx="2">
                  <c:v>-1.0966131889483324</c:v>
                </c:pt>
                <c:pt idx="3">
                  <c:v>-1.13119100717771</c:v>
                </c:pt>
                <c:pt idx="4">
                  <c:v>-1.13119100717771</c:v>
                </c:pt>
                <c:pt idx="6">
                  <c:v>-1.1423908015531141</c:v>
                </c:pt>
                <c:pt idx="7">
                  <c:v>-1.1423908015531141</c:v>
                </c:pt>
                <c:pt idx="8">
                  <c:v>-1.1980400598898984</c:v>
                </c:pt>
                <c:pt idx="9">
                  <c:v>-1.198040059889898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926313197590731</c:v>
                </c:pt>
                <c:pt idx="5">
                  <c:v>-1.13119100717771</c:v>
                </c:pt>
                <c:pt idx="10">
                  <c:v>-1.198040059889898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9818691892591985E-3</c:v>
                </c:pt>
                <c:pt idx="3">
                  <c:v>3.4577818229377714E-2</c:v>
                </c:pt>
                <c:pt idx="6">
                  <c:v>1.119979437540416E-2</c:v>
                </c:pt>
                <c:pt idx="8">
                  <c:v>5.5649258336784163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926313197590731</c:v>
                </c:pt>
                <c:pt idx="5">
                  <c:v>-1.13119100717771</c:v>
                </c:pt>
                <c:pt idx="10">
                  <c:v>-1.198040059889898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Omgevingsadressendichtheid</c:v>
                </c:pt>
                <c:pt idx="5">
                  <c:v>Land * bodemfactor gemeente</c:v>
                </c:pt>
                <c:pt idx="6">
                  <c:v>Oeverlengte *dichtheid *bodemf. gem.</c:v>
                </c:pt>
                <c:pt idx="7">
                  <c:v>Oeverlengte * bodemfactor gemeente</c:v>
                </c:pt>
                <c:pt idx="10">
                  <c:v>Overig</c:v>
                </c:pt>
              </c:strCache>
            </c:strRef>
          </c:cat>
          <c:val>
            <c:numRef>
              <c:f>Sheet1!$B$2:$B$12</c:f>
              <c:numCache>
                <c:formatCode>General</c:formatCode>
                <c:ptCount val="11"/>
                <c:pt idx="0">
                  <c:v>-1.3621821215600001</c:v>
                </c:pt>
                <c:pt idx="1">
                  <c:v>0.39804161696000007</c:v>
                </c:pt>
                <c:pt idx="2">
                  <c:v>-0.26847068508000005</c:v>
                </c:pt>
                <c:pt idx="3">
                  <c:v>-5.8447509120000012E-2</c:v>
                </c:pt>
                <c:pt idx="4">
                  <c:v>5.0108399992559997E-2</c:v>
                </c:pt>
                <c:pt idx="5">
                  <c:v>2.5779877760000004E-2</c:v>
                </c:pt>
                <c:pt idx="6">
                  <c:v>9.4347376375417385E-3</c:v>
                </c:pt>
                <c:pt idx="7">
                  <c:v>7.6956235200000001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949663939203999</c:v>
                </c:pt>
                <c:pt idx="1">
                  <c:v>2.3757854163154399</c:v>
                </c:pt>
                <c:pt idx="2">
                  <c:v>2.51501740684272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949663939203999</c:v>
                </c:pt>
                <c:pt idx="1">
                  <c:v>2.3757854163154399</c:v>
                </c:pt>
                <c:pt idx="2">
                  <c:v>2.51501740684272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5.641608237323652</c:v>
                </c:pt>
                <c:pt idx="1">
                  <c:v>78.030197271174174</c:v>
                </c:pt>
                <c:pt idx="2">
                  <c:v>82.6031269695773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5.641608237323652</c:v>
                </c:pt>
                <c:pt idx="1">
                  <c:v>78.030197271174174</c:v>
                </c:pt>
                <c:pt idx="2">
                  <c:v>82.6031269695773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82.603126969577303</c:v>
                </c:pt>
                <c:pt idx="2">
                  <c:v>89.766424840574942</c:v>
                </c:pt>
                <c:pt idx="3">
                  <c:v>82.054327890861543</c:v>
                </c:pt>
                <c:pt idx="4">
                  <c:v>76.161467617674489</c:v>
                </c:pt>
                <c:pt idx="5">
                  <c:v>76.233556406303038</c:v>
                </c:pt>
                <c:pt idx="7">
                  <c:v>81.053944188853492</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82.603126969577303</c:v>
                </c:pt>
                <c:pt idx="2">
                  <c:v>89.766424840574942</c:v>
                </c:pt>
                <c:pt idx="3">
                  <c:v>82.054327890861543</c:v>
                </c:pt>
                <c:pt idx="4">
                  <c:v>76.161467617674489</c:v>
                </c:pt>
                <c:pt idx="5">
                  <c:v>76.233556406303038</c:v>
                </c:pt>
                <c:pt idx="7">
                  <c:v>81.053944188853492</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2949663939203999</c:v>
                </c:pt>
                <c:pt idx="2">
                  <c:v>2.3031622889196868</c:v>
                </c:pt>
                <c:pt idx="3">
                  <c:v>2.3031622889196868</c:v>
                </c:pt>
                <c:pt idx="4">
                  <c:v>2.3757854163154399</c:v>
                </c:pt>
                <c:pt idx="6">
                  <c:v>2.3757854163154399</c:v>
                </c:pt>
                <c:pt idx="7">
                  <c:v>2.3981779346550138</c:v>
                </c:pt>
                <c:pt idx="8">
                  <c:v>2.3981779346550138</c:v>
                </c:pt>
                <c:pt idx="9">
                  <c:v>2.51501740684272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949663939203999</c:v>
                </c:pt>
                <c:pt idx="5">
                  <c:v>2.3757854163154399</c:v>
                </c:pt>
                <c:pt idx="10">
                  <c:v>2.51501740684272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1958949992868568E-3</c:v>
                </c:pt>
                <c:pt idx="3">
                  <c:v>7.2623127395753148E-2</c:v>
                </c:pt>
                <c:pt idx="6">
                  <c:v>2.2392518339573803E-2</c:v>
                </c:pt>
                <c:pt idx="8">
                  <c:v>0.116839472187706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2949663939203999</c:v>
                </c:pt>
                <c:pt idx="5">
                  <c:v>2.3757854163154399</c:v>
                </c:pt>
                <c:pt idx="10">
                  <c:v>2.51501740684272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Woz waarde niet woningen (in mln)</c:v>
                </c:pt>
                <c:pt idx="3">
                  <c:v>Omgevingsadressendichtheid</c:v>
                </c:pt>
                <c:pt idx="4">
                  <c:v>Land</c:v>
                </c:pt>
                <c:pt idx="5">
                  <c:v>Opp. bebouwing totaal</c:v>
                </c:pt>
                <c:pt idx="6">
                  <c:v>Kernen</c:v>
                </c:pt>
                <c:pt idx="7">
                  <c:v>Huishoudens laag inkomen (drempel)</c:v>
                </c:pt>
                <c:pt idx="8">
                  <c:v>Minderheden</c:v>
                </c:pt>
                <c:pt idx="9">
                  <c:v>Klantenpotentieel regionaal</c:v>
                </c:pt>
                <c:pt idx="10">
                  <c:v>Overig</c:v>
                </c:pt>
              </c:strCache>
            </c:strRef>
          </c:cat>
          <c:val>
            <c:numRef>
              <c:f>Sheet1!$B$2:$B$12</c:f>
              <c:numCache>
                <c:formatCode>General</c:formatCode>
                <c:ptCount val="11"/>
                <c:pt idx="0">
                  <c:v>1.2526352602399999</c:v>
                </c:pt>
                <c:pt idx="1">
                  <c:v>0.35798264320000006</c:v>
                </c:pt>
                <c:pt idx="2">
                  <c:v>0.25762753161600005</c:v>
                </c:pt>
                <c:pt idx="3">
                  <c:v>0.21968053506671997</c:v>
                </c:pt>
                <c:pt idx="4">
                  <c:v>9.4263827839999995E-2</c:v>
                </c:pt>
                <c:pt idx="5">
                  <c:v>7.6233156480000008E-2</c:v>
                </c:pt>
                <c:pt idx="6">
                  <c:v>5.5739478080000009E-2</c:v>
                </c:pt>
                <c:pt idx="7">
                  <c:v>5.3737970520000004E-2</c:v>
                </c:pt>
                <c:pt idx="8">
                  <c:v>4.2874686400000007E-2</c:v>
                </c:pt>
                <c:pt idx="9">
                  <c:v>3.6527920000000005E-2</c:v>
                </c:pt>
                <c:pt idx="10">
                  <c:v>6.771439740000051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83729635063</c:v>
                </c:pt>
                <c:pt idx="1">
                  <c:v>3.3103456525868005</c:v>
                </c:pt>
                <c:pt idx="2">
                  <c:v>3.479696583633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83729635063</c:v>
                </c:pt>
                <c:pt idx="1">
                  <c:v>3.3103456525868005</c:v>
                </c:pt>
                <c:pt idx="2">
                  <c:v>3.479696583633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4.93505718731048</c:v>
                </c:pt>
                <c:pt idx="1">
                  <c:v>108.72485475044505</c:v>
                </c:pt>
                <c:pt idx="2">
                  <c:v>114.2870096769271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4.93505718731048</c:v>
                </c:pt>
                <c:pt idx="1">
                  <c:v>108.72485475044505</c:v>
                </c:pt>
                <c:pt idx="2">
                  <c:v>114.287009676927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4204711987663936</c:v>
                </c:pt>
                <c:pt idx="2">
                  <c:v>-4.4204711987663936</c:v>
                </c:pt>
                <c:pt idx="3">
                  <c:v>-4.4270200428399997</c:v>
                </c:pt>
                <c:pt idx="4">
                  <c:v>-4.4270200428399997</c:v>
                </c:pt>
                <c:pt idx="6">
                  <c:v>-4.4525362423700336</c:v>
                </c:pt>
                <c:pt idx="7">
                  <c:v>-4.4525362423700336</c:v>
                </c:pt>
                <c:pt idx="8">
                  <c:v>-4.1571269383600002</c:v>
                </c:pt>
                <c:pt idx="9">
                  <c:v>-4.1571269383600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2419688094000003</c:v>
                </c:pt>
                <c:pt idx="5">
                  <c:v>-4.4270200428399997</c:v>
                </c:pt>
                <c:pt idx="10">
                  <c:v>-4.1571269383600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7.1139693963258102E-2</c:v>
                </c:pt>
                <c:pt idx="7">
                  <c:v>1.044658994564496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7850238936639354</c:v>
                </c:pt>
                <c:pt idx="3">
                  <c:v>7.7688538036864013E-2</c:v>
                </c:pt>
                <c:pt idx="6">
                  <c:v>2.5516199530034134E-2</c:v>
                </c:pt>
                <c:pt idx="8">
                  <c:v>0.74924969055446311</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2419688094000003</c:v>
                </c:pt>
                <c:pt idx="5">
                  <c:v>-4.4270200428399997</c:v>
                </c:pt>
                <c:pt idx="10">
                  <c:v>-4.1571269383600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C$2:$C$10</c:f>
              <c:numCache>
                <c:formatCode>General</c:formatCode>
                <c:ptCount val="9"/>
                <c:pt idx="0">
                  <c:v>114.28700967692713</c:v>
                </c:pt>
                <c:pt idx="2">
                  <c:v>117.80150868418892</c:v>
                </c:pt>
                <c:pt idx="3">
                  <c:v>114.42691374216673</c:v>
                </c:pt>
                <c:pt idx="4">
                  <c:v>113.68953297677724</c:v>
                </c:pt>
                <c:pt idx="5">
                  <c:v>112.9164919927273</c:v>
                </c:pt>
                <c:pt idx="7">
                  <c:v>114.70861184896505</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mert-Bakel</c:v>
                </c:pt>
                <c:pt idx="2">
                  <c:v>Halderberge</c:v>
                </c:pt>
                <c:pt idx="3">
                  <c:v>Boxtel</c:v>
                </c:pt>
                <c:pt idx="4">
                  <c:v>Bernheze</c:v>
                </c:pt>
                <c:pt idx="5">
                  <c:v>Leusden</c:v>
                </c:pt>
                <c:pt idx="7">
                  <c:v>4 gemeenten</c:v>
                </c:pt>
                <c:pt idx="8">
                  <c:v>Landelijk</c:v>
                </c:pt>
              </c:strCache>
            </c:strRef>
          </c:cat>
          <c:val>
            <c:numRef>
              <c:f>Sheet1!$B$2:$B$10</c:f>
              <c:numCache>
                <c:formatCode>General</c:formatCode>
                <c:ptCount val="9"/>
                <c:pt idx="0">
                  <c:v>114.28700967692713</c:v>
                </c:pt>
                <c:pt idx="2">
                  <c:v>117.80150868418892</c:v>
                </c:pt>
                <c:pt idx="3">
                  <c:v>114.42691374216673</c:v>
                </c:pt>
                <c:pt idx="4">
                  <c:v>113.68953297677724</c:v>
                </c:pt>
                <c:pt idx="5">
                  <c:v>112.9164919927273</c:v>
                </c:pt>
                <c:pt idx="7">
                  <c:v>114.70861184896505</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183729635063</c:v>
                </c:pt>
                <c:pt idx="2">
                  <c:v>3.1960446686393018</c:v>
                </c:pt>
                <c:pt idx="3">
                  <c:v>3.2092428816084304</c:v>
                </c:pt>
                <c:pt idx="4">
                  <c:v>3.3103456525868005</c:v>
                </c:pt>
                <c:pt idx="6">
                  <c:v>3.3103456525868005</c:v>
                </c:pt>
                <c:pt idx="7">
                  <c:v>3.317816076041936</c:v>
                </c:pt>
                <c:pt idx="8">
                  <c:v>3.317816076041936</c:v>
                </c:pt>
                <c:pt idx="9">
                  <c:v>3.479696583633399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183729635063</c:v>
                </c:pt>
                <c:pt idx="5">
                  <c:v>3.3103456525868005</c:v>
                </c:pt>
                <c:pt idx="10">
                  <c:v>3.479696583633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2315033576302014E-2</c:v>
                </c:pt>
                <c:pt idx="2">
                  <c:v>1.3198212969128516E-2</c:v>
                </c:pt>
                <c:pt idx="3">
                  <c:v>0.10110277097836995</c:v>
                </c:pt>
                <c:pt idx="6">
                  <c:v>8.8773565569223497E-3</c:v>
                </c:pt>
                <c:pt idx="8">
                  <c:v>0.1618805075914637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4069331017865954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183729635063</c:v>
                </c:pt>
                <c:pt idx="5">
                  <c:v>3.3103456525868005</c:v>
                </c:pt>
                <c:pt idx="10">
                  <c:v>3.479696583633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Klantenpotentieel regionaal</c:v>
                </c:pt>
                <c:pt idx="5">
                  <c:v>Bedrijfsvestigingen</c:v>
                </c:pt>
                <c:pt idx="6">
                  <c:v>Land</c:v>
                </c:pt>
                <c:pt idx="7">
                  <c:v>Bewoonde oorden 1930</c:v>
                </c:pt>
                <c:pt idx="8">
                  <c:v>Minderheden</c:v>
                </c:pt>
                <c:pt idx="9">
                  <c:v>Minderheden (drempel)</c:v>
                </c:pt>
                <c:pt idx="10">
                  <c:v>Overig</c:v>
                </c:pt>
              </c:strCache>
            </c:strRef>
          </c:cat>
          <c:val>
            <c:numRef>
              <c:f>Sheet1!$B$2:$B$12</c:f>
              <c:numCache>
                <c:formatCode>General</c:formatCode>
                <c:ptCount val="11"/>
                <c:pt idx="0">
                  <c:v>2.5045811809200003</c:v>
                </c:pt>
                <c:pt idx="1">
                  <c:v>0.7068228284000001</c:v>
                </c:pt>
                <c:pt idx="2">
                  <c:v>0.28248488112000003</c:v>
                </c:pt>
                <c:pt idx="3">
                  <c:v>-5.7243039726600005E-2</c:v>
                </c:pt>
                <c:pt idx="4">
                  <c:v>-4.785157520000001E-2</c:v>
                </c:pt>
                <c:pt idx="5">
                  <c:v>3.6844855320000001E-2</c:v>
                </c:pt>
                <c:pt idx="6">
                  <c:v>1.987608896E-2</c:v>
                </c:pt>
                <c:pt idx="7">
                  <c:v>1.8639104640000001E-2</c:v>
                </c:pt>
                <c:pt idx="8">
                  <c:v>1.554225920000000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OZB (niet-woningen eigenaar)</c:v>
                </c:pt>
                <c:pt idx="2">
                  <c:v>Woonruimten</c:v>
                </c:pt>
                <c:pt idx="3">
                  <c:v>OZB (niet-woningen gebruiker)</c:v>
                </c:pt>
                <c:pt idx="4">
                  <c:v>Vast bedrag voor iedere gemeente</c:v>
                </c:pt>
                <c:pt idx="10">
                  <c:v>Overig</c:v>
                </c:pt>
              </c:strCache>
            </c:strRef>
          </c:cat>
          <c:val>
            <c:numRef>
              <c:f>Sheet1!$B$2:$B$12</c:f>
              <c:numCache>
                <c:formatCode>General</c:formatCode>
                <c:ptCount val="11"/>
                <c:pt idx="0">
                  <c:v>-2.4883500000000001</c:v>
                </c:pt>
                <c:pt idx="1">
                  <c:v>-0.60084096799999998</c:v>
                </c:pt>
                <c:pt idx="2">
                  <c:v>-0.57101034536000006</c:v>
                </c:pt>
                <c:pt idx="3">
                  <c:v>-0.55328920500000012</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360580124262654</c:v>
                </c:pt>
                <c:pt idx="1">
                  <c:v>2.9199332601188011</c:v>
                </c:pt>
                <c:pt idx="2">
                  <c:v>3.022726902992161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06822</c:v>
                </c:pt>
                <c:pt idx="1">
                  <c:v>4.9976180000000001</c:v>
                </c:pt>
                <c:pt idx="2">
                  <c:v>4.957385000000000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428800124262656</c:v>
                </c:pt>
                <c:pt idx="1">
                  <c:v>7.9175512601188007</c:v>
                </c:pt>
                <c:pt idx="2">
                  <c:v>7.980111902992161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43.748777804923336</cx:pt>
          <cx:pt idx="1">-4.1571269383600002</cx:pt>
          <cx:pt idx="2">39.591650866563334</cx:pt>
          <cx:pt idx="3">6.0428420000000003</cx:pt>
          <cx:pt idx="4">45.634492866563335</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6-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Gemert-Bakel</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emert-Bakel is ca. 46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62544622"/>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5,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6,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9,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3,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emert-Bakel is ca. 46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2393982218"/>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2863028849"/>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349378607"/>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76292057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2,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4,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emert-Bakel is ca. 46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84397643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7,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9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9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4,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8,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Gemert-Bakel ca. 1.499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694446435"/>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Gemert-Bakel</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9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28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11642324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8763000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9245982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26513804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94119725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40630445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3901486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78355968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31887842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5639236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16766268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6910103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64533692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79351028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2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6335168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05165508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8187671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22728377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2837545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00777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6765946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4268476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70400210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02130443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56808951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3610363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84687821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47304305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6235844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53268181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21925635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89442637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2269013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7375690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76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02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02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0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46378775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2587579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20384929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18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8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12097419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31961763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8260114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28065424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41816235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72059641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61521046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29196787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2195291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01536293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394623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3537011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00234249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0144301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5864583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42909377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421119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3515101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94844345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76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02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02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11836544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53182960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68165739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18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8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05783651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5863889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43813350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68725482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88188684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1308437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3426382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4081723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1118649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41990079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9498085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8679478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30902607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14084723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3015140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0635797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48280175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4709375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19568053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98082441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124319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10811794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3347634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ist.woningen in bewoonde oor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22848771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12768455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96690767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8301317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12454168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52041272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7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2948038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16537936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1980940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7111157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00012479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buitengebie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 buitengebied * bf. buite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8,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15850816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8314534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60825053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91304191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177266297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23526943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5297115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3304995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86989145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044111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29644032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0001366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52965618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76015086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1384936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77857525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8501660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63042670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Gemert-Bakel,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495948974"/>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5,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03165960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4402621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2574556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24457055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2528290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6155125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69732028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6292413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0.3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44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4542130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86012252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73384393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4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1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7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0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45506199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73549708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1060151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55862056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92028703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emert-Bakel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143875054"/>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2,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4,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Gemert-Bakel is ca. 46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39018526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9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9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55</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Gemert-Bakel ca. 1.499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596567467"/>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Gemert-Bakel</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30.447</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Halderberge</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0.194</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Boxtel</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0.747</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Bernhez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0.80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Leusd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0.03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562961231"/>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Gemert-Bakel</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9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28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emert-Bakel</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3880830809"/>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4184370099"/>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4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4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Gemert-Bakel,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7</TotalTime>
  <Words>9722</Words>
  <Application>Microsoft Office PowerPoint</Application>
  <PresentationFormat>Widescreen</PresentationFormat>
  <Paragraphs>2186</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Gemert-Bakel is ca. 46 mln (1/3)</vt:lpstr>
      <vt:lpstr>Totale uitkering voor Gemert-Bakel is ca. 46 mln (2/3)</vt:lpstr>
      <vt:lpstr>Totale uitkering voor Gemert-Bakel is ca. 46 mln (3/3)</vt:lpstr>
      <vt:lpstr>Per inwoner ontvangt Gemert-Bakel ca. 1.499 euro</vt:lpstr>
      <vt:lpstr>Dit is ca. 28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Gemert-Bakel is ca. 46 mln</vt:lpstr>
      <vt:lpstr>Per inwoner ontvangt Gemert-Bakel ca. 1.499 euro</vt:lpstr>
      <vt:lpstr>Dit is ca. €28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6T17:15:26Z</dcterms:modified>
</cp:coreProperties>
</file>